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4.xml" ContentType="application/vnd.openxmlformats-officedocument.theme+xml"/>
  <Override PartName="/ppt/tags/tag79.xml" ContentType="application/vnd.openxmlformats-officedocument.presentationml.tags+xml"/>
  <Override PartName="/ppt/notesSlides/notesSlide1.xml" ContentType="application/vnd.openxmlformats-officedocument.presentationml.notesSlide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69" r:id="rId3"/>
  </p:sldMasterIdLst>
  <p:notesMasterIdLst>
    <p:notesMasterId r:id="rId5"/>
  </p:notesMasterIdLst>
  <p:sldIdLst>
    <p:sldId id="259" r:id="rId4"/>
  </p:sldIdLst>
  <p:sldSz cx="11950700" cy="6721475"/>
  <p:notesSz cx="6858000" cy="9144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11" autoAdjust="0"/>
    <p:restoredTop sz="94635"/>
  </p:normalViewPr>
  <p:slideViewPr>
    <p:cSldViewPr snapToGrid="0">
      <p:cViewPr>
        <p:scale>
          <a:sx n="152" d="100"/>
          <a:sy n="152" d="100"/>
        </p:scale>
        <p:origin x="1384" y="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notesMaster" Target="notesMasters/notesMaster1.xml"/><Relationship Id="rId6" Type="http://schemas.openxmlformats.org/officeDocument/2006/relationships/tags" Target="tags/tag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804438-E8C3-424C-95EC-28CAE10EAA22}" type="datetimeFigureOut">
              <a:rPr lang="en-US" smtClean="0"/>
              <a:t>5/21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078FFF-A822-42EB-86EC-0A1577CE0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9916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46926" y="9204951"/>
            <a:ext cx="150699" cy="184666"/>
          </a:xfr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6182" indent="-28699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974" indent="-229595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7162" indent="-229595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66351" indent="-229595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25541" indent="-22959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84729" indent="-22959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43919" indent="-22959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03108" indent="-22959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A7FE4B-C36A-4820-8977-E9EBEA2DBC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046538" y="1235075"/>
            <a:ext cx="14541501" cy="8178800"/>
          </a:xfrm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9269" y="343840"/>
            <a:ext cx="3834952" cy="246221"/>
          </a:xfrm>
          <a:noFill/>
        </p:spPr>
        <p:txBody>
          <a:bodyPr/>
          <a:lstStyle/>
          <a:p>
            <a:pPr eaLnBrk="1" hangingPunct="1"/>
            <a:endParaRPr lang="en-GB"/>
          </a:p>
        </p:txBody>
      </p:sp>
      <p:sp>
        <p:nvSpPr>
          <p:cNvPr id="5125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33015" y="1461324"/>
            <a:ext cx="529348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839" tIns="45919" rIns="91839" bIns="459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0252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78.xml"/><Relationship Id="rId2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43.xml"/><Relationship Id="rId2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14/2018 3:57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702361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691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815790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441950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48429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442" imgH="440" progId="TCLayout.ActiveDocument.1">
                  <p:embed/>
                </p:oleObj>
              </mc:Choice>
              <mc:Fallback>
                <p:oleObj name="think-cell Slide" r:id="rId4" imgW="442" imgH="44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9196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224876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5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tags" Target="../tags/tag62.xml"/><Relationship Id="rId25" Type="http://schemas.openxmlformats.org/officeDocument/2006/relationships/tags" Target="../tags/tag63.xml"/><Relationship Id="rId26" Type="http://schemas.openxmlformats.org/officeDocument/2006/relationships/tags" Target="../tags/tag64.xml"/><Relationship Id="rId27" Type="http://schemas.openxmlformats.org/officeDocument/2006/relationships/tags" Target="../tags/tag65.xml"/><Relationship Id="rId28" Type="http://schemas.openxmlformats.org/officeDocument/2006/relationships/tags" Target="../tags/tag66.xml"/><Relationship Id="rId29" Type="http://schemas.openxmlformats.org/officeDocument/2006/relationships/tags" Target="../tags/tag6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7.vml"/><Relationship Id="rId30" Type="http://schemas.openxmlformats.org/officeDocument/2006/relationships/tags" Target="../tags/tag68.xml"/><Relationship Id="rId31" Type="http://schemas.openxmlformats.org/officeDocument/2006/relationships/tags" Target="../tags/tag69.xml"/><Relationship Id="rId32" Type="http://schemas.openxmlformats.org/officeDocument/2006/relationships/tags" Target="../tags/tag70.xml"/><Relationship Id="rId9" Type="http://schemas.openxmlformats.org/officeDocument/2006/relationships/tags" Target="../tags/tag47.xml"/><Relationship Id="rId6" Type="http://schemas.openxmlformats.org/officeDocument/2006/relationships/tags" Target="../tags/tag44.xml"/><Relationship Id="rId7" Type="http://schemas.openxmlformats.org/officeDocument/2006/relationships/tags" Target="../tags/tag45.xml"/><Relationship Id="rId8" Type="http://schemas.openxmlformats.org/officeDocument/2006/relationships/tags" Target="../tags/tag46.xml"/><Relationship Id="rId33" Type="http://schemas.openxmlformats.org/officeDocument/2006/relationships/tags" Target="../tags/tag71.xml"/><Relationship Id="rId34" Type="http://schemas.openxmlformats.org/officeDocument/2006/relationships/tags" Target="../tags/tag72.xml"/><Relationship Id="rId35" Type="http://schemas.openxmlformats.org/officeDocument/2006/relationships/tags" Target="../tags/tag73.xml"/><Relationship Id="rId36" Type="http://schemas.openxmlformats.org/officeDocument/2006/relationships/tags" Target="../tags/tag74.xml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37" Type="http://schemas.openxmlformats.org/officeDocument/2006/relationships/tags" Target="../tags/tag75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92037293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1300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14/2018 3:57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7718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09315799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398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6356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79.xml"/><Relationship Id="rId2" Type="http://schemas.openxmlformats.org/officeDocument/2006/relationships/slideLayout" Target="../slideLayouts/slideLayout6.xml"/><Relationship Id="rId3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Rectangle 17"/>
          <p:cNvSpPr>
            <a:spLocks noGrp="1" noChangeArrowheads="1"/>
          </p:cNvSpPr>
          <p:nvPr>
            <p:ph type="title"/>
          </p:nvPr>
        </p:nvSpPr>
        <p:spPr>
          <a:xfrm>
            <a:off x="158782" y="230189"/>
            <a:ext cx="10243568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ales acceleration program for a large IT provider led to $250 </a:t>
            </a:r>
            <a:r>
              <a:rPr lang="en-US" dirty="0" err="1"/>
              <a:t>Mn</a:t>
            </a:r>
            <a:r>
              <a:rPr lang="en-US" dirty="0"/>
              <a:t>+ pipeline injection and structurally re-positioned its accounts for growth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82666" y="1629828"/>
            <a:ext cx="3226557" cy="21852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Global IT services company looking to accelerate growth in changing market (shift to digital, business stakeholders, etc.)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Driving growth in ‘digital revenue’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Re-positioning itself in its key accounts (greater access to business stakeholders)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Building account team capabilities </a:t>
            </a:r>
          </a:p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McKinsey program (Phase 1) to demonstrate path to ‘reset’ accounts – focusing on 10 key accounts, while delivering short term targets (pipeline generation, order booking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4204" y="1640581"/>
            <a:ext cx="2789474" cy="35548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2 major set of intervention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Expert led ideation sessions to review account strategy and identify new opportunitie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Coaching on pursuing large/ transformation deals (in context of live deals)</a:t>
            </a:r>
          </a:p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Enabled by 3 key factor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Expert involvement: 40+ experts deployed to lead ideation sessions, coach account teams, shape proposition, make senior client introduction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Shift from reactive to proactive opportunity identification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Proactive deal pursuit process, involving the best of client/ external inpu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471393" y="1629828"/>
            <a:ext cx="3870523" cy="39703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$250 </a:t>
            </a:r>
            <a:r>
              <a:rPr lang="en-US" sz="1200" dirty="0" err="1">
                <a:solidFill>
                  <a:srgbClr val="000000"/>
                </a:solidFill>
              </a:rPr>
              <a:t>Mn</a:t>
            </a:r>
            <a:r>
              <a:rPr lang="en-US" sz="1200" dirty="0">
                <a:solidFill>
                  <a:srgbClr val="000000"/>
                </a:solidFill>
              </a:rPr>
              <a:t>+ new pipeline injected (40+ opportunities across 10 accounts); 50% outside of IT.</a:t>
            </a:r>
          </a:p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Pivot in account strategy and positioning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2-3 new services deployed/ tested per account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2-3 new senior </a:t>
            </a:r>
            <a:r>
              <a:rPr lang="en-US" sz="1200" dirty="0" err="1">
                <a:solidFill>
                  <a:srgbClr val="000000"/>
                </a:solidFill>
              </a:rPr>
              <a:t>CXO</a:t>
            </a:r>
            <a:r>
              <a:rPr lang="en-US" sz="1200" dirty="0">
                <a:solidFill>
                  <a:srgbClr val="000000"/>
                </a:solidFill>
              </a:rPr>
              <a:t>/ CXO-1 relationships initiated across most account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3-4 senior experts engaged as “thought partners” on accounts</a:t>
            </a:r>
          </a:p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Built new service lines/ offering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6 new ‘business themes’ identified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Offerings developed including value proposition, experts (internal/ external), reference cases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Tested in pilot accounts</a:t>
            </a:r>
          </a:p>
          <a:p>
            <a:pPr marL="102870" lvl="1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Capability building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Strengthening business acumen and communicating for impact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Shaping business centric transformational proposals proactively</a:t>
            </a:r>
          </a:p>
          <a:p>
            <a:pPr marL="300514" lvl="2" indent="-102870">
              <a:spcBef>
                <a:spcPts val="300"/>
              </a:spcBef>
              <a:buClr>
                <a:srgbClr val="002960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Building trust outside traditional sponsors</a:t>
            </a: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xmlns="" id="{C2BC2EFE-0217-A344-ACFD-10A2AAAA8E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820411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MT 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xmlns="" id="{93C97DE9-5302-DE4E-9275-0DD9DD70A4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IT018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68809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6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2959" y="1152768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52768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52768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9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24946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7119613" y="1124946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7838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7157847" y="151066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04819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8" y="5804819"/>
            <a:ext cx="2975954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87937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Anuradha Sarin\Documents\16 Case Codification process\M&amp;S Cases\2018_Cases\201843 and 201844_Cases to be added_by Mari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</TotalTime>
  <Words>315</Words>
  <Application>Microsoft Macintosh PowerPoint</Application>
  <PresentationFormat>Custom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Calibri</vt:lpstr>
      <vt:lpstr>Georgia</vt:lpstr>
      <vt:lpstr>Times New Roman</vt:lpstr>
      <vt:lpstr>Arial</vt:lpstr>
      <vt:lpstr>Firm Format - template_Blue</vt:lpstr>
      <vt:lpstr>M&amp;S Theme</vt:lpstr>
      <vt:lpstr>Firm Format - template_Grey</vt:lpstr>
      <vt:lpstr>think-cell Slide</vt:lpstr>
      <vt:lpstr>Sales acceleration program for a large IT provider led to $250 Mn+ pipeline injection and structurally re-positioned its accounts for growth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example 3: Comprehensive sales acceleration for one of the largest Tier-1 BPO providers</dc:title>
  <dc:creator>Vinay Murthy</dc:creator>
  <cp:lastModifiedBy>Petra Vincent</cp:lastModifiedBy>
  <cp:revision>11</cp:revision>
  <dcterms:created xsi:type="dcterms:W3CDTF">2018-01-26T01:19:05Z</dcterms:created>
  <dcterms:modified xsi:type="dcterms:W3CDTF">2019-05-21T18:53:38Z</dcterms:modified>
</cp:coreProperties>
</file>